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1"/>
  </p:notesMasterIdLst>
  <p:sldIdLst>
    <p:sldId id="297" r:id="rId2"/>
    <p:sldId id="572" r:id="rId3"/>
    <p:sldId id="565" r:id="rId4"/>
    <p:sldId id="349" r:id="rId5"/>
    <p:sldId id="444" r:id="rId6"/>
    <p:sldId id="834" r:id="rId7"/>
    <p:sldId id="394" r:id="rId8"/>
    <p:sldId id="395" r:id="rId9"/>
    <p:sldId id="582" r:id="rId10"/>
    <p:sldId id="445" r:id="rId11"/>
    <p:sldId id="397" r:id="rId12"/>
    <p:sldId id="447" r:id="rId13"/>
    <p:sldId id="400" r:id="rId14"/>
    <p:sldId id="401" r:id="rId15"/>
    <p:sldId id="402" r:id="rId16"/>
    <p:sldId id="406" r:id="rId17"/>
    <p:sldId id="837" r:id="rId18"/>
    <p:sldId id="298" r:id="rId19"/>
    <p:sldId id="299" r:id="rId20"/>
    <p:sldId id="350" r:id="rId21"/>
    <p:sldId id="383" r:id="rId22"/>
    <p:sldId id="384" r:id="rId23"/>
    <p:sldId id="385" r:id="rId24"/>
    <p:sldId id="387" r:id="rId25"/>
    <p:sldId id="388" r:id="rId26"/>
    <p:sldId id="389" r:id="rId27"/>
    <p:sldId id="391" r:id="rId28"/>
    <p:sldId id="390" r:id="rId29"/>
    <p:sldId id="448" r:id="rId30"/>
    <p:sldId id="449" r:id="rId31"/>
    <p:sldId id="392" r:id="rId32"/>
    <p:sldId id="450" r:id="rId33"/>
    <p:sldId id="405" r:id="rId34"/>
    <p:sldId id="407" r:id="rId35"/>
    <p:sldId id="408" r:id="rId36"/>
    <p:sldId id="386" r:id="rId37"/>
    <p:sldId id="393" r:id="rId38"/>
    <p:sldId id="454" r:id="rId39"/>
    <p:sldId id="459" r:id="rId40"/>
    <p:sldId id="457" r:id="rId41"/>
    <p:sldId id="458" r:id="rId42"/>
    <p:sldId id="410" r:id="rId43"/>
    <p:sldId id="411" r:id="rId44"/>
    <p:sldId id="412" r:id="rId45"/>
    <p:sldId id="413" r:id="rId46"/>
    <p:sldId id="838" r:id="rId47"/>
    <p:sldId id="414" r:id="rId48"/>
    <p:sldId id="451" r:id="rId49"/>
    <p:sldId id="415" r:id="rId50"/>
    <p:sldId id="416" r:id="rId51"/>
    <p:sldId id="417" r:id="rId52"/>
    <p:sldId id="419" r:id="rId53"/>
    <p:sldId id="420" r:id="rId54"/>
    <p:sldId id="452" r:id="rId55"/>
    <p:sldId id="421" r:id="rId56"/>
    <p:sldId id="422" r:id="rId57"/>
    <p:sldId id="425" r:id="rId58"/>
    <p:sldId id="423" r:id="rId59"/>
    <p:sldId id="424" r:id="rId60"/>
    <p:sldId id="426" r:id="rId61"/>
    <p:sldId id="427" r:id="rId62"/>
    <p:sldId id="428" r:id="rId63"/>
    <p:sldId id="429" r:id="rId64"/>
    <p:sldId id="431" r:id="rId65"/>
    <p:sldId id="453" r:id="rId66"/>
    <p:sldId id="432" r:id="rId67"/>
    <p:sldId id="433" r:id="rId68"/>
    <p:sldId id="438" r:id="rId69"/>
    <p:sldId id="461" r:id="rId7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17" autoAdjust="0"/>
    <p:restoredTop sz="94162" autoAdjust="0"/>
  </p:normalViewPr>
  <p:slideViewPr>
    <p:cSldViewPr snapToGrid="0">
      <p:cViewPr varScale="1">
        <p:scale>
          <a:sx n="124" d="100"/>
          <a:sy n="124" d="100"/>
        </p:scale>
        <p:origin x="1224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3/1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3/10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3/10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3/10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10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3/10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3/10/25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3/10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3/10/2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3/10/25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3/10/25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3/10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4" Type="http://schemas.openxmlformats.org/officeDocument/2006/relationships/image" Target="../media/image17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7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jpe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3/10/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76" name="Footer Placeholder 5">
            <a:extLst>
              <a:ext uri="{FF2B5EF4-FFF2-40B4-BE49-F238E27FC236}">
                <a16:creationId xmlns:a16="http://schemas.microsoft.com/office/drawing/2014/main" id="{9F10186E-7B18-9346-B7E5-6D6426C24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3/1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6781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902" y="3960145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64141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</a:t>
                  </a:r>
                  <a:r>
                    <a:rPr lang="en" dirty="0" err="1">
                      <a:latin typeface="Open Sans"/>
                      <a:ea typeface="Open Sans"/>
                      <a:cs typeface="Open Sans"/>
                      <a:sym typeface="Open Sans"/>
                    </a:rPr>
                    <a:t>saturday_dummy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477561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3/1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F86F6-69F4-E44A-A229-A46DCB5869E2}"/>
              </a:ext>
            </a:extLst>
          </p:cNvPr>
          <p:cNvSpPr/>
          <p:nvPr/>
        </p:nvSpPr>
        <p:spPr>
          <a:xfrm>
            <a:off x="1286933" y="3496733"/>
            <a:ext cx="7459134" cy="440267"/>
          </a:xfrm>
          <a:prstGeom prst="rect">
            <a:avLst/>
          </a:prstGeom>
          <a:solidFill>
            <a:srgbClr val="A51C3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negative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3541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05170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C98856-D1A5-824F-835D-56AC03F713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92" y="3007895"/>
            <a:ext cx="3720283" cy="118410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692855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Reviewing beta coefficients can explain relationships, some positive, some negative &gt;&gt;&gt;</a:t>
            </a:r>
          </a:p>
        </p:txBody>
      </p:sp>
      <p:sp>
        <p:nvSpPr>
          <p:cNvPr id="10" name="Oval 9"/>
          <p:cNvSpPr/>
          <p:nvPr/>
        </p:nvSpPr>
        <p:spPr>
          <a:xfrm>
            <a:off x="637236" y="3742478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$3655 for each room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0AC6495A-84FB-CE45-A81C-668168955C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3/1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125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2463617" y="5231983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9A8DC6-A5F2-4C44-B5E1-CC67188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3/10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01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5D227B7-0814-9544-B047-9C1F84968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8C65AE5-8B9A-D746-AE91-5E9B13934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A385-5F86-6A42-BA4C-E9132354F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8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9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10/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423</TotalTime>
  <Words>3168</Words>
  <Application>Microsoft Macintosh PowerPoint</Application>
  <PresentationFormat>On-screen Show (4:3)</PresentationFormat>
  <Paragraphs>753</Paragraphs>
  <Slides>69</Slides>
  <Notes>21</Notes>
  <HiddenSlides>2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9</vt:i4>
      </vt:variant>
    </vt:vector>
  </HeadingPairs>
  <TitlesOfParts>
    <vt:vector size="78" baseType="lpstr">
      <vt:lpstr>Arial</vt:lpstr>
      <vt:lpstr>Calibri</vt:lpstr>
      <vt:lpstr>Cambria Math</vt:lpstr>
      <vt:lpstr>Franklin Gothic Book</vt:lpstr>
      <vt:lpstr>Helvetica Neue</vt:lpstr>
      <vt:lpstr>Open Sans</vt:lpstr>
      <vt:lpstr>Wingdings 2</vt:lpstr>
      <vt:lpstr>1_Office Theme</vt:lpstr>
      <vt:lpstr>think-cell Slide</vt:lpstr>
      <vt:lpstr>Regression</vt:lpstr>
      <vt:lpstr>Your Data Mining Toolbox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Evaluating a Prediction Model</vt:lpstr>
      <vt:lpstr>RMSE</vt:lpstr>
      <vt:lpstr>RMSE</vt:lpstr>
      <vt:lpstr>MAPE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Back to script D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Ted Kwartler</cp:lastModifiedBy>
  <cp:revision>279</cp:revision>
  <dcterms:created xsi:type="dcterms:W3CDTF">2018-05-23T17:24:59Z</dcterms:created>
  <dcterms:modified xsi:type="dcterms:W3CDTF">2025-03-10T23:38:20Z</dcterms:modified>
</cp:coreProperties>
</file>